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7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60BD0E-5973-6274-8C5C-4B2B2189D2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BD076B7-4760-5C75-A691-7A7659813C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67158CB-2A71-41A6-C013-56FED9E98A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</a:t>
            </a:r>
          </a:p>
        </p:txBody>
      </p:sp>
      <p:cxnSp>
        <p:nvCxnSpPr>
          <p:cNvPr id="2" name="Google Shape;5508;p77">
            <a:extLst>
              <a:ext uri="{FF2B5EF4-FFF2-40B4-BE49-F238E27FC236}">
                <a16:creationId xmlns:a16="http://schemas.microsoft.com/office/drawing/2014/main" id="{52B79877-1909-CC67-7D5B-E3AA2F740482}"/>
              </a:ext>
            </a:extLst>
          </p:cNvPr>
          <p:cNvCxnSpPr/>
          <p:nvPr/>
        </p:nvCxnSpPr>
        <p:spPr>
          <a:xfrm rot="10800000">
            <a:off x="0" y="6266245"/>
            <a:ext cx="1219200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" name="Google Shape;5509;p77">
            <a:extLst>
              <a:ext uri="{FF2B5EF4-FFF2-40B4-BE49-F238E27FC236}">
                <a16:creationId xmlns:a16="http://schemas.microsoft.com/office/drawing/2014/main" id="{90D5621F-FE00-4B98-2074-C8DD3253A57C}"/>
              </a:ext>
            </a:extLst>
          </p:cNvPr>
          <p:cNvGrpSpPr/>
          <p:nvPr/>
        </p:nvGrpSpPr>
        <p:grpSpPr>
          <a:xfrm>
            <a:off x="7095280" y="1284795"/>
            <a:ext cx="5096719" cy="4981449"/>
            <a:chOff x="6457044" y="208345"/>
            <a:chExt cx="5734956" cy="6057900"/>
          </a:xfrm>
        </p:grpSpPr>
        <p:sp>
          <p:nvSpPr>
            <p:cNvPr id="6" name="Google Shape;5510;p77">
              <a:extLst>
                <a:ext uri="{FF2B5EF4-FFF2-40B4-BE49-F238E27FC236}">
                  <a16:creationId xmlns:a16="http://schemas.microsoft.com/office/drawing/2014/main" id="{D494DB89-A44B-1B72-A87D-DD096F02393D}"/>
                </a:ext>
              </a:extLst>
            </p:cNvPr>
            <p:cNvSpPr/>
            <p:nvPr/>
          </p:nvSpPr>
          <p:spPr>
            <a:xfrm flipH="1">
              <a:off x="6457044" y="208345"/>
              <a:ext cx="5734956" cy="6057900"/>
            </a:xfrm>
            <a:prstGeom prst="round1Rect">
              <a:avLst>
                <a:gd name="adj" fmla="val 7512"/>
              </a:avLst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121900" tIns="60950" rIns="121900" bIns="6095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rgbClr val="FFFFFF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" name="Google Shape;5511;p77">
              <a:extLst>
                <a:ext uri="{FF2B5EF4-FFF2-40B4-BE49-F238E27FC236}">
                  <a16:creationId xmlns:a16="http://schemas.microsoft.com/office/drawing/2014/main" id="{132D34A9-BA8C-6B4E-DF0A-E960D62E8BD4}"/>
                </a:ext>
              </a:extLst>
            </p:cNvPr>
            <p:cNvSpPr/>
            <p:nvPr/>
          </p:nvSpPr>
          <p:spPr>
            <a:xfrm>
              <a:off x="6719990" y="1249260"/>
              <a:ext cx="5210042" cy="4055171"/>
            </a:xfrm>
            <a:custGeom>
              <a:avLst/>
              <a:gdLst/>
              <a:ahLst/>
              <a:cxnLst/>
              <a:rect l="l" t="t" r="r" b="b"/>
              <a:pathLst>
                <a:path w="5210042" h="4055171" extrusionOk="0">
                  <a:moveTo>
                    <a:pt x="5006146" y="2638302"/>
                  </a:moveTo>
                  <a:cubicBezTo>
                    <a:pt x="4958316" y="2712057"/>
                    <a:pt x="4899991" y="2768168"/>
                    <a:pt x="4840438" y="2826012"/>
                  </a:cubicBezTo>
                  <a:cubicBezTo>
                    <a:pt x="4821446" y="2844451"/>
                    <a:pt x="4801731" y="2862143"/>
                    <a:pt x="4781343" y="2879017"/>
                  </a:cubicBezTo>
                  <a:cubicBezTo>
                    <a:pt x="4772147" y="2886624"/>
                    <a:pt x="4763120" y="2894062"/>
                    <a:pt x="4754045" y="2901524"/>
                  </a:cubicBezTo>
                  <a:cubicBezTo>
                    <a:pt x="4637082" y="2997834"/>
                    <a:pt x="4500115" y="3067545"/>
                    <a:pt x="4352677" y="3102449"/>
                  </a:cubicBezTo>
                  <a:cubicBezTo>
                    <a:pt x="4347983" y="3103556"/>
                    <a:pt x="4343241" y="3104639"/>
                    <a:pt x="4338523" y="3105699"/>
                  </a:cubicBezTo>
                  <a:cubicBezTo>
                    <a:pt x="4199703" y="3135716"/>
                    <a:pt x="4059871" y="3153529"/>
                    <a:pt x="3915370" y="3143322"/>
                  </a:cubicBezTo>
                  <a:cubicBezTo>
                    <a:pt x="3768149" y="3138965"/>
                    <a:pt x="3620398" y="3120334"/>
                    <a:pt x="3468603" y="3098670"/>
                  </a:cubicBezTo>
                  <a:cubicBezTo>
                    <a:pt x="3449177" y="3095902"/>
                    <a:pt x="3429631" y="3093735"/>
                    <a:pt x="3410085" y="3092098"/>
                  </a:cubicBezTo>
                  <a:cubicBezTo>
                    <a:pt x="3347427" y="3086899"/>
                    <a:pt x="3288620" y="3082397"/>
                    <a:pt x="3229380" y="3085406"/>
                  </a:cubicBezTo>
                  <a:cubicBezTo>
                    <a:pt x="2993865" y="3087236"/>
                    <a:pt x="2793229" y="3179165"/>
                    <a:pt x="2612091" y="3308501"/>
                  </a:cubicBezTo>
                  <a:cubicBezTo>
                    <a:pt x="2521510" y="3373181"/>
                    <a:pt x="2435743" y="3446936"/>
                    <a:pt x="2352769" y="3522882"/>
                  </a:cubicBezTo>
                  <a:cubicBezTo>
                    <a:pt x="2058687" y="3855863"/>
                    <a:pt x="1650242" y="4137596"/>
                    <a:pt x="1177887" y="4033029"/>
                  </a:cubicBezTo>
                  <a:cubicBezTo>
                    <a:pt x="1136893" y="4024941"/>
                    <a:pt x="1098764" y="4016588"/>
                    <a:pt x="1057770" y="4008500"/>
                  </a:cubicBezTo>
                  <a:cubicBezTo>
                    <a:pt x="989840" y="3988256"/>
                    <a:pt x="922175" y="3970852"/>
                    <a:pt x="856388" y="3941798"/>
                  </a:cubicBezTo>
                  <a:cubicBezTo>
                    <a:pt x="820401" y="3924635"/>
                    <a:pt x="784655" y="3910337"/>
                    <a:pt x="748668" y="3893198"/>
                  </a:cubicBezTo>
                  <a:cubicBezTo>
                    <a:pt x="607344" y="3821489"/>
                    <a:pt x="491030" y="3739044"/>
                    <a:pt x="378063" y="3627521"/>
                  </a:cubicBezTo>
                  <a:cubicBezTo>
                    <a:pt x="346842" y="3598442"/>
                    <a:pt x="321326" y="3568907"/>
                    <a:pt x="295594" y="3536482"/>
                  </a:cubicBezTo>
                  <a:cubicBezTo>
                    <a:pt x="231467" y="3458322"/>
                    <a:pt x="182145" y="3384687"/>
                    <a:pt x="140670" y="3301761"/>
                  </a:cubicBezTo>
                  <a:cubicBezTo>
                    <a:pt x="-37628" y="2959560"/>
                    <a:pt x="98159" y="2585393"/>
                    <a:pt x="172251" y="2230772"/>
                  </a:cubicBezTo>
                  <a:cubicBezTo>
                    <a:pt x="194157" y="2113760"/>
                    <a:pt x="175573" y="1994365"/>
                    <a:pt x="147987" y="1880724"/>
                  </a:cubicBezTo>
                  <a:cubicBezTo>
                    <a:pt x="120498" y="1774400"/>
                    <a:pt x="81021" y="1672529"/>
                    <a:pt x="44673" y="1564689"/>
                  </a:cubicBezTo>
                  <a:cubicBezTo>
                    <a:pt x="-101225" y="1127599"/>
                    <a:pt x="119150" y="628284"/>
                    <a:pt x="575762" y="509563"/>
                  </a:cubicBezTo>
                  <a:cubicBezTo>
                    <a:pt x="637722" y="492881"/>
                    <a:pt x="699923" y="479040"/>
                    <a:pt x="763303" y="479522"/>
                  </a:cubicBezTo>
                  <a:cubicBezTo>
                    <a:pt x="861250" y="479979"/>
                    <a:pt x="952048" y="498322"/>
                    <a:pt x="1046432" y="525017"/>
                  </a:cubicBezTo>
                  <a:cubicBezTo>
                    <a:pt x="1303107" y="598628"/>
                    <a:pt x="1552174" y="753504"/>
                    <a:pt x="1826758" y="702183"/>
                  </a:cubicBezTo>
                  <a:cubicBezTo>
                    <a:pt x="1906387" y="689522"/>
                    <a:pt x="1983801" y="660034"/>
                    <a:pt x="2053969" y="617307"/>
                  </a:cubicBezTo>
                  <a:cubicBezTo>
                    <a:pt x="2163663" y="551327"/>
                    <a:pt x="2271648" y="482795"/>
                    <a:pt x="2379608" y="414745"/>
                  </a:cubicBezTo>
                  <a:cubicBezTo>
                    <a:pt x="2436008" y="375774"/>
                    <a:pt x="2494261" y="338944"/>
                    <a:pt x="2554079" y="304811"/>
                  </a:cubicBezTo>
                  <a:cubicBezTo>
                    <a:pt x="2613896" y="270677"/>
                    <a:pt x="2675279" y="239192"/>
                    <a:pt x="2737961" y="210956"/>
                  </a:cubicBezTo>
                  <a:cubicBezTo>
                    <a:pt x="3116846" y="41252"/>
                    <a:pt x="3550976" y="-62352"/>
                    <a:pt x="3945411" y="41637"/>
                  </a:cubicBezTo>
                  <a:cubicBezTo>
                    <a:pt x="5459990" y="440839"/>
                    <a:pt x="5323626" y="2148784"/>
                    <a:pt x="5006146" y="2638302"/>
                  </a:cubicBezTo>
                  <a:close/>
                </a:path>
              </a:pathLst>
            </a:custGeom>
            <a:solidFill>
              <a:srgbClr val="CBCAE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8" name="Google Shape;5512;p77">
              <a:extLst>
                <a:ext uri="{FF2B5EF4-FFF2-40B4-BE49-F238E27FC236}">
                  <a16:creationId xmlns:a16="http://schemas.microsoft.com/office/drawing/2014/main" id="{8A22D2A6-BB74-0ADD-B7B2-E1653C554C6D}"/>
                </a:ext>
              </a:extLst>
            </p:cNvPr>
            <p:cNvSpPr/>
            <p:nvPr/>
          </p:nvSpPr>
          <p:spPr>
            <a:xfrm rot="-542307">
              <a:off x="8446681" y="1116897"/>
              <a:ext cx="482978" cy="482978"/>
            </a:xfrm>
            <a:custGeom>
              <a:avLst/>
              <a:gdLst/>
              <a:ahLst/>
              <a:cxnLst/>
              <a:rect l="l" t="t" r="r" b="b"/>
              <a:pathLst>
                <a:path w="482978" h="482978" extrusionOk="0">
                  <a:moveTo>
                    <a:pt x="482979" y="241489"/>
                  </a:moveTo>
                  <a:cubicBezTo>
                    <a:pt x="482979" y="374860"/>
                    <a:pt x="374860" y="482979"/>
                    <a:pt x="241489" y="482979"/>
                  </a:cubicBezTo>
                  <a:cubicBezTo>
                    <a:pt x="108119" y="482979"/>
                    <a:pt x="0" y="374860"/>
                    <a:pt x="0" y="241489"/>
                  </a:cubicBezTo>
                  <a:cubicBezTo>
                    <a:pt x="0" y="108119"/>
                    <a:pt x="108119" y="0"/>
                    <a:pt x="241489" y="0"/>
                  </a:cubicBezTo>
                  <a:cubicBezTo>
                    <a:pt x="374860" y="0"/>
                    <a:pt x="482979" y="108119"/>
                    <a:pt x="482979" y="2414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9" name="Google Shape;5513;p77">
              <a:extLst>
                <a:ext uri="{FF2B5EF4-FFF2-40B4-BE49-F238E27FC236}">
                  <a16:creationId xmlns:a16="http://schemas.microsoft.com/office/drawing/2014/main" id="{19D40ECC-0E5B-2CB8-9BA1-8F8C93893975}"/>
                </a:ext>
              </a:extLst>
            </p:cNvPr>
            <p:cNvSpPr/>
            <p:nvPr/>
          </p:nvSpPr>
          <p:spPr>
            <a:xfrm rot="-4197460">
              <a:off x="9388119" y="4887413"/>
              <a:ext cx="302036" cy="302036"/>
            </a:xfrm>
            <a:custGeom>
              <a:avLst/>
              <a:gdLst/>
              <a:ahLst/>
              <a:cxnLst/>
              <a:rect l="l" t="t" r="r" b="b"/>
              <a:pathLst>
                <a:path w="302036" h="302036" extrusionOk="0">
                  <a:moveTo>
                    <a:pt x="302036" y="151018"/>
                  </a:moveTo>
                  <a:cubicBezTo>
                    <a:pt x="302036" y="234423"/>
                    <a:pt x="234423" y="302036"/>
                    <a:pt x="151018" y="302036"/>
                  </a:cubicBezTo>
                  <a:cubicBezTo>
                    <a:pt x="67613" y="302036"/>
                    <a:pt x="0" y="234423"/>
                    <a:pt x="0" y="151018"/>
                  </a:cubicBezTo>
                  <a:cubicBezTo>
                    <a:pt x="0" y="67613"/>
                    <a:pt x="67613" y="0"/>
                    <a:pt x="151018" y="0"/>
                  </a:cubicBezTo>
                  <a:cubicBezTo>
                    <a:pt x="234423" y="0"/>
                    <a:pt x="302036" y="67613"/>
                    <a:pt x="302036" y="15101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>
                <a:buClr>
                  <a:schemeClr val="dk1"/>
                </a:buClr>
                <a:buSzPts val="1800"/>
              </a:pPr>
              <a:endParaRPr dirty="0">
                <a:solidFill>
                  <a:srgbClr val="000000"/>
                </a:solidFill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10" name="Google Shape;5514;p77">
              <a:extLst>
                <a:ext uri="{FF2B5EF4-FFF2-40B4-BE49-F238E27FC236}">
                  <a16:creationId xmlns:a16="http://schemas.microsoft.com/office/drawing/2014/main" id="{E744F8DF-F5AC-8110-BC64-24EBF7445D9C}"/>
                </a:ext>
              </a:extLst>
            </p:cNvPr>
            <p:cNvSpPr/>
            <p:nvPr/>
          </p:nvSpPr>
          <p:spPr>
            <a:xfrm rot="-3374019">
              <a:off x="9177739" y="5121207"/>
              <a:ext cx="194302" cy="194302"/>
            </a:xfrm>
            <a:custGeom>
              <a:avLst/>
              <a:gdLst/>
              <a:ahLst/>
              <a:cxnLst/>
              <a:rect l="l" t="t" r="r" b="b"/>
              <a:pathLst>
                <a:path w="194302" h="194302" extrusionOk="0">
                  <a:moveTo>
                    <a:pt x="194303" y="97151"/>
                  </a:moveTo>
                  <a:cubicBezTo>
                    <a:pt x="194303" y="150806"/>
                    <a:pt x="150806" y="194303"/>
                    <a:pt x="97151" y="194303"/>
                  </a:cubicBezTo>
                  <a:cubicBezTo>
                    <a:pt x="43496" y="194303"/>
                    <a:pt x="0" y="150806"/>
                    <a:pt x="0" y="97151"/>
                  </a:cubicBezTo>
                  <a:cubicBezTo>
                    <a:pt x="0" y="43496"/>
                    <a:pt x="43496" y="0"/>
                    <a:pt x="97151" y="0"/>
                  </a:cubicBezTo>
                  <a:cubicBezTo>
                    <a:pt x="150806" y="0"/>
                    <a:pt x="194303" y="43496"/>
                    <a:pt x="194303" y="97151"/>
                  </a:cubicBezTo>
                  <a:close/>
                </a:path>
              </a:pathLst>
            </a:custGeom>
            <a:solidFill>
              <a:srgbClr val="BAE4F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11" name="Google Shape;5515;p77">
              <a:extLst>
                <a:ext uri="{FF2B5EF4-FFF2-40B4-BE49-F238E27FC236}">
                  <a16:creationId xmlns:a16="http://schemas.microsoft.com/office/drawing/2014/main" id="{CD1623EA-4E18-5FA5-84E0-F0EEB243CB0F}"/>
                </a:ext>
              </a:extLst>
            </p:cNvPr>
            <p:cNvSpPr/>
            <p:nvPr/>
          </p:nvSpPr>
          <p:spPr>
            <a:xfrm>
              <a:off x="10295374" y="972600"/>
              <a:ext cx="534170" cy="2407"/>
            </a:xfrm>
            <a:custGeom>
              <a:avLst/>
              <a:gdLst/>
              <a:ahLst/>
              <a:cxnLst/>
              <a:rect l="l" t="t" r="r" b="b"/>
              <a:pathLst>
                <a:path w="534170" h="2407" extrusionOk="0">
                  <a:moveTo>
                    <a:pt x="0" y="0"/>
                  </a:moveTo>
                  <a:lnTo>
                    <a:pt x="534171" y="0"/>
                  </a:lnTo>
                </a:path>
              </a:pathLst>
            </a:custGeom>
            <a:noFill/>
            <a:ln w="28650" cap="rnd" cmpd="sng">
              <a:solidFill>
                <a:srgbClr val="BBE5F7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12" name="Google Shape;5516;p77">
              <a:extLst>
                <a:ext uri="{FF2B5EF4-FFF2-40B4-BE49-F238E27FC236}">
                  <a16:creationId xmlns:a16="http://schemas.microsoft.com/office/drawing/2014/main" id="{BE4F5446-3F43-C08D-EF81-58F91361060C}"/>
                </a:ext>
              </a:extLst>
            </p:cNvPr>
            <p:cNvSpPr/>
            <p:nvPr/>
          </p:nvSpPr>
          <p:spPr>
            <a:xfrm>
              <a:off x="10401433" y="887820"/>
              <a:ext cx="962523" cy="2407"/>
            </a:xfrm>
            <a:custGeom>
              <a:avLst/>
              <a:gdLst/>
              <a:ahLst/>
              <a:cxnLst/>
              <a:rect l="l" t="t" r="r" b="b"/>
              <a:pathLst>
                <a:path w="962523" h="2407" extrusionOk="0">
                  <a:moveTo>
                    <a:pt x="0" y="0"/>
                  </a:moveTo>
                  <a:lnTo>
                    <a:pt x="962523" y="0"/>
                  </a:lnTo>
                </a:path>
              </a:pathLst>
            </a:custGeom>
            <a:noFill/>
            <a:ln w="28650" cap="rnd" cmpd="sng">
              <a:solidFill>
                <a:srgbClr val="BBE5F7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13" name="Google Shape;5517;p77">
              <a:extLst>
                <a:ext uri="{FF2B5EF4-FFF2-40B4-BE49-F238E27FC236}">
                  <a16:creationId xmlns:a16="http://schemas.microsoft.com/office/drawing/2014/main" id="{FC9800EB-60F0-908A-EAE0-D2B10068A83D}"/>
                </a:ext>
              </a:extLst>
            </p:cNvPr>
            <p:cNvSpPr/>
            <p:nvPr/>
          </p:nvSpPr>
          <p:spPr>
            <a:xfrm>
              <a:off x="6768177" y="5587011"/>
              <a:ext cx="907254" cy="2407"/>
            </a:xfrm>
            <a:custGeom>
              <a:avLst/>
              <a:gdLst/>
              <a:ahLst/>
              <a:cxnLst/>
              <a:rect l="l" t="t" r="r" b="b"/>
              <a:pathLst>
                <a:path w="907254" h="2407" extrusionOk="0">
                  <a:moveTo>
                    <a:pt x="0" y="0"/>
                  </a:moveTo>
                  <a:lnTo>
                    <a:pt x="907255" y="0"/>
                  </a:lnTo>
                </a:path>
              </a:pathLst>
            </a:custGeom>
            <a:noFill/>
            <a:ln w="28650" cap="rnd" cmpd="sng">
              <a:solidFill>
                <a:srgbClr val="BBE5F7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15" name="Google Shape;5519;p77">
              <a:extLst>
                <a:ext uri="{FF2B5EF4-FFF2-40B4-BE49-F238E27FC236}">
                  <a16:creationId xmlns:a16="http://schemas.microsoft.com/office/drawing/2014/main" id="{E5ACBA04-10CD-BEC3-C160-8245CBA8FAA1}"/>
                </a:ext>
              </a:extLst>
            </p:cNvPr>
            <p:cNvSpPr/>
            <p:nvPr/>
          </p:nvSpPr>
          <p:spPr>
            <a:xfrm rot="477305">
              <a:off x="8269496" y="2081591"/>
              <a:ext cx="2275387" cy="2666245"/>
            </a:xfrm>
            <a:custGeom>
              <a:avLst/>
              <a:gdLst/>
              <a:ahLst/>
              <a:cxnLst/>
              <a:rect l="l" t="t" r="r" b="b"/>
              <a:pathLst>
                <a:path w="2275387" h="2666245" extrusionOk="0">
                  <a:moveTo>
                    <a:pt x="0" y="0"/>
                  </a:moveTo>
                  <a:lnTo>
                    <a:pt x="2275388" y="0"/>
                  </a:lnTo>
                  <a:lnTo>
                    <a:pt x="2275388" y="2666246"/>
                  </a:lnTo>
                  <a:lnTo>
                    <a:pt x="0" y="2666246"/>
                  </a:lnTo>
                  <a:close/>
                </a:path>
              </a:pathLst>
            </a:custGeom>
            <a:solidFill>
              <a:srgbClr val="363636">
                <a:alpha val="1882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16" name="Google Shape;5520;p77">
              <a:extLst>
                <a:ext uri="{FF2B5EF4-FFF2-40B4-BE49-F238E27FC236}">
                  <a16:creationId xmlns:a16="http://schemas.microsoft.com/office/drawing/2014/main" id="{37EAF708-B9B8-E9E3-BBC1-8AD65A011F96}"/>
                </a:ext>
              </a:extLst>
            </p:cNvPr>
            <p:cNvSpPr/>
            <p:nvPr/>
          </p:nvSpPr>
          <p:spPr>
            <a:xfrm rot="477305">
              <a:off x="8118669" y="1885979"/>
              <a:ext cx="2275387" cy="2666245"/>
            </a:xfrm>
            <a:custGeom>
              <a:avLst/>
              <a:gdLst/>
              <a:ahLst/>
              <a:cxnLst/>
              <a:rect l="l" t="t" r="r" b="b"/>
              <a:pathLst>
                <a:path w="2275387" h="2666245" extrusionOk="0">
                  <a:moveTo>
                    <a:pt x="0" y="0"/>
                  </a:moveTo>
                  <a:lnTo>
                    <a:pt x="2275388" y="0"/>
                  </a:lnTo>
                  <a:lnTo>
                    <a:pt x="2275388" y="2666246"/>
                  </a:lnTo>
                  <a:lnTo>
                    <a:pt x="0" y="2666246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17" name="Google Shape;5521;p77">
              <a:extLst>
                <a:ext uri="{FF2B5EF4-FFF2-40B4-BE49-F238E27FC236}">
                  <a16:creationId xmlns:a16="http://schemas.microsoft.com/office/drawing/2014/main" id="{327A55A9-9900-AD1F-8CFC-512C850A5D09}"/>
                </a:ext>
              </a:extLst>
            </p:cNvPr>
            <p:cNvSpPr/>
            <p:nvPr/>
          </p:nvSpPr>
          <p:spPr>
            <a:xfrm>
              <a:off x="8611620" y="2342678"/>
              <a:ext cx="336110" cy="205907"/>
            </a:xfrm>
            <a:custGeom>
              <a:avLst/>
              <a:gdLst/>
              <a:ahLst/>
              <a:cxnLst/>
              <a:rect l="l" t="t" r="r" b="b"/>
              <a:pathLst>
                <a:path w="336110" h="205907" extrusionOk="0">
                  <a:moveTo>
                    <a:pt x="0" y="72431"/>
                  </a:moveTo>
                  <a:lnTo>
                    <a:pt x="100739" y="205908"/>
                  </a:lnTo>
                  <a:lnTo>
                    <a:pt x="336110" y="0"/>
                  </a:lnTo>
                </a:path>
              </a:pathLst>
            </a:custGeom>
            <a:noFill/>
            <a:ln w="86900" cap="rnd" cmpd="sng">
              <a:solidFill>
                <a:srgbClr val="05BD6B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  <p:grpSp>
          <p:nvGrpSpPr>
            <p:cNvPr id="18" name="Google Shape;5522;p77">
              <a:extLst>
                <a:ext uri="{FF2B5EF4-FFF2-40B4-BE49-F238E27FC236}">
                  <a16:creationId xmlns:a16="http://schemas.microsoft.com/office/drawing/2014/main" id="{2FE8A780-FFD3-1099-C4FC-57AB0539EF2B}"/>
                </a:ext>
              </a:extLst>
            </p:cNvPr>
            <p:cNvGrpSpPr/>
            <p:nvPr/>
          </p:nvGrpSpPr>
          <p:grpSpPr>
            <a:xfrm>
              <a:off x="9145960" y="2412990"/>
              <a:ext cx="978746" cy="249188"/>
              <a:chOff x="9145960" y="2204645"/>
              <a:chExt cx="978746" cy="249188"/>
            </a:xfrm>
          </p:grpSpPr>
          <p:sp>
            <p:nvSpPr>
              <p:cNvPr id="53" name="Google Shape;5523;p77">
                <a:extLst>
                  <a:ext uri="{FF2B5EF4-FFF2-40B4-BE49-F238E27FC236}">
                    <a16:creationId xmlns:a16="http://schemas.microsoft.com/office/drawing/2014/main" id="{514BE277-C113-BF56-D750-0374BC911AE7}"/>
                  </a:ext>
                </a:extLst>
              </p:cNvPr>
              <p:cNvSpPr/>
              <p:nvPr/>
            </p:nvSpPr>
            <p:spPr>
              <a:xfrm>
                <a:off x="9168081" y="2204645"/>
                <a:ext cx="956625" cy="133644"/>
              </a:xfrm>
              <a:custGeom>
                <a:avLst/>
                <a:gdLst/>
                <a:ahLst/>
                <a:cxnLst/>
                <a:rect l="l" t="t" r="r" b="b"/>
                <a:pathLst>
                  <a:path w="956625" h="133644" extrusionOk="0">
                    <a:moveTo>
                      <a:pt x="0" y="0"/>
                    </a:moveTo>
                    <a:lnTo>
                      <a:pt x="956626" y="133645"/>
                    </a:lnTo>
                  </a:path>
                </a:pathLst>
              </a:custGeom>
              <a:noFill/>
              <a:ln w="86900" cap="rnd" cmpd="sng">
                <a:solidFill>
                  <a:srgbClr val="D4D4D4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54" name="Google Shape;5524;p77">
                <a:extLst>
                  <a:ext uri="{FF2B5EF4-FFF2-40B4-BE49-F238E27FC236}">
                    <a16:creationId xmlns:a16="http://schemas.microsoft.com/office/drawing/2014/main" id="{66A33DA0-47B4-0B32-5CAA-E4F9771AC309}"/>
                  </a:ext>
                </a:extLst>
              </p:cNvPr>
              <p:cNvSpPr/>
              <p:nvPr/>
            </p:nvSpPr>
            <p:spPr>
              <a:xfrm>
                <a:off x="9145960" y="2362988"/>
                <a:ext cx="650315" cy="90845"/>
              </a:xfrm>
              <a:custGeom>
                <a:avLst/>
                <a:gdLst/>
                <a:ahLst/>
                <a:cxnLst/>
                <a:rect l="l" t="t" r="r" b="b"/>
                <a:pathLst>
                  <a:path w="650315" h="90845" extrusionOk="0">
                    <a:moveTo>
                      <a:pt x="0" y="0"/>
                    </a:moveTo>
                    <a:lnTo>
                      <a:pt x="650316" y="90846"/>
                    </a:lnTo>
                  </a:path>
                </a:pathLst>
              </a:custGeom>
              <a:noFill/>
              <a:ln w="86900" cap="rnd" cmpd="sng">
                <a:solidFill>
                  <a:srgbClr val="D4D4D4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</p:grpSp>
        <p:grpSp>
          <p:nvGrpSpPr>
            <p:cNvPr id="19" name="Google Shape;5525;p77">
              <a:extLst>
                <a:ext uri="{FF2B5EF4-FFF2-40B4-BE49-F238E27FC236}">
                  <a16:creationId xmlns:a16="http://schemas.microsoft.com/office/drawing/2014/main" id="{92529005-3A81-8764-F0D8-B52E00532DEA}"/>
                </a:ext>
              </a:extLst>
            </p:cNvPr>
            <p:cNvGrpSpPr/>
            <p:nvPr/>
          </p:nvGrpSpPr>
          <p:grpSpPr>
            <a:xfrm>
              <a:off x="8527081" y="3006666"/>
              <a:ext cx="235371" cy="235371"/>
              <a:chOff x="8527081" y="2798321"/>
              <a:chExt cx="235371" cy="235371"/>
            </a:xfrm>
          </p:grpSpPr>
          <p:sp>
            <p:nvSpPr>
              <p:cNvPr id="51" name="Google Shape;5526;p77">
                <a:extLst>
                  <a:ext uri="{FF2B5EF4-FFF2-40B4-BE49-F238E27FC236}">
                    <a16:creationId xmlns:a16="http://schemas.microsoft.com/office/drawing/2014/main" id="{669DF5F7-D142-F2CC-F629-EF0748B6CFDF}"/>
                  </a:ext>
                </a:extLst>
              </p:cNvPr>
              <p:cNvSpPr/>
              <p:nvPr/>
            </p:nvSpPr>
            <p:spPr>
              <a:xfrm>
                <a:off x="8527081" y="2813053"/>
                <a:ext cx="235371" cy="205907"/>
              </a:xfrm>
              <a:custGeom>
                <a:avLst/>
                <a:gdLst/>
                <a:ahLst/>
                <a:cxnLst/>
                <a:rect l="l" t="t" r="r" b="b"/>
                <a:pathLst>
                  <a:path w="235371" h="205907" extrusionOk="0">
                    <a:moveTo>
                      <a:pt x="235371" y="0"/>
                    </a:moveTo>
                    <a:lnTo>
                      <a:pt x="0" y="205908"/>
                    </a:lnTo>
                  </a:path>
                </a:pathLst>
              </a:custGeom>
              <a:noFill/>
              <a:ln w="86900" cap="rnd" cmpd="sng">
                <a:solidFill>
                  <a:srgbClr val="ED295C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52" name="Google Shape;5527;p77">
                <a:extLst>
                  <a:ext uri="{FF2B5EF4-FFF2-40B4-BE49-F238E27FC236}">
                    <a16:creationId xmlns:a16="http://schemas.microsoft.com/office/drawing/2014/main" id="{5BE3350E-C5DE-8637-5C8C-AC539D685CA3}"/>
                  </a:ext>
                </a:extLst>
              </p:cNvPr>
              <p:cNvSpPr/>
              <p:nvPr/>
            </p:nvSpPr>
            <p:spPr>
              <a:xfrm>
                <a:off x="8541813" y="2798321"/>
                <a:ext cx="205907" cy="235371"/>
              </a:xfrm>
              <a:custGeom>
                <a:avLst/>
                <a:gdLst/>
                <a:ahLst/>
                <a:cxnLst/>
                <a:rect l="l" t="t" r="r" b="b"/>
                <a:pathLst>
                  <a:path w="205907" h="235371" extrusionOk="0">
                    <a:moveTo>
                      <a:pt x="205908" y="235371"/>
                    </a:moveTo>
                    <a:lnTo>
                      <a:pt x="0" y="0"/>
                    </a:lnTo>
                  </a:path>
                </a:pathLst>
              </a:custGeom>
              <a:noFill/>
              <a:ln w="86900" cap="rnd" cmpd="sng">
                <a:solidFill>
                  <a:srgbClr val="ED295C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</p:grpSp>
        <p:grpSp>
          <p:nvGrpSpPr>
            <p:cNvPr id="20" name="Google Shape;5528;p77">
              <a:extLst>
                <a:ext uri="{FF2B5EF4-FFF2-40B4-BE49-F238E27FC236}">
                  <a16:creationId xmlns:a16="http://schemas.microsoft.com/office/drawing/2014/main" id="{1FF559B4-8A2F-8605-B8E7-7DC0BF9A7D05}"/>
                </a:ext>
              </a:extLst>
            </p:cNvPr>
            <p:cNvGrpSpPr/>
            <p:nvPr/>
          </p:nvGrpSpPr>
          <p:grpSpPr>
            <a:xfrm>
              <a:off x="9049409" y="3104107"/>
              <a:ext cx="978747" cy="224419"/>
              <a:chOff x="9049409" y="2895762"/>
              <a:chExt cx="978747" cy="224419"/>
            </a:xfrm>
          </p:grpSpPr>
          <p:sp>
            <p:nvSpPr>
              <p:cNvPr id="49" name="Google Shape;5529;p77">
                <a:extLst>
                  <a:ext uri="{FF2B5EF4-FFF2-40B4-BE49-F238E27FC236}">
                    <a16:creationId xmlns:a16="http://schemas.microsoft.com/office/drawing/2014/main" id="{39E1D415-2B59-30F3-23C3-449732310F1D}"/>
                  </a:ext>
                </a:extLst>
              </p:cNvPr>
              <p:cNvSpPr/>
              <p:nvPr/>
            </p:nvSpPr>
            <p:spPr>
              <a:xfrm>
                <a:off x="9071531" y="2895762"/>
                <a:ext cx="956625" cy="133644"/>
              </a:xfrm>
              <a:custGeom>
                <a:avLst/>
                <a:gdLst/>
                <a:ahLst/>
                <a:cxnLst/>
                <a:rect l="l" t="t" r="r" b="b"/>
                <a:pathLst>
                  <a:path w="956625" h="133644" extrusionOk="0">
                    <a:moveTo>
                      <a:pt x="0" y="0"/>
                    </a:moveTo>
                    <a:lnTo>
                      <a:pt x="956626" y="133645"/>
                    </a:lnTo>
                  </a:path>
                </a:pathLst>
              </a:custGeom>
              <a:noFill/>
              <a:ln w="86900" cap="rnd" cmpd="sng">
                <a:solidFill>
                  <a:srgbClr val="D4D4D4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50" name="Google Shape;5530;p77">
                <a:extLst>
                  <a:ext uri="{FF2B5EF4-FFF2-40B4-BE49-F238E27FC236}">
                    <a16:creationId xmlns:a16="http://schemas.microsoft.com/office/drawing/2014/main" id="{E903920C-787D-309E-6AE6-E74241EEDC98}"/>
                  </a:ext>
                </a:extLst>
              </p:cNvPr>
              <p:cNvSpPr/>
              <p:nvPr/>
            </p:nvSpPr>
            <p:spPr>
              <a:xfrm>
                <a:off x="9049409" y="3054105"/>
                <a:ext cx="472980" cy="66076"/>
              </a:xfrm>
              <a:custGeom>
                <a:avLst/>
                <a:gdLst/>
                <a:ahLst/>
                <a:cxnLst/>
                <a:rect l="l" t="t" r="r" b="b"/>
                <a:pathLst>
                  <a:path w="472980" h="66076" extrusionOk="0">
                    <a:moveTo>
                      <a:pt x="0" y="0"/>
                    </a:moveTo>
                    <a:lnTo>
                      <a:pt x="472981" y="66076"/>
                    </a:lnTo>
                  </a:path>
                </a:pathLst>
              </a:custGeom>
              <a:noFill/>
              <a:ln w="86900" cap="rnd" cmpd="sng">
                <a:solidFill>
                  <a:srgbClr val="D4D4D4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</p:grpSp>
        <p:sp>
          <p:nvSpPr>
            <p:cNvPr id="21" name="Google Shape;5531;p77">
              <a:extLst>
                <a:ext uri="{FF2B5EF4-FFF2-40B4-BE49-F238E27FC236}">
                  <a16:creationId xmlns:a16="http://schemas.microsoft.com/office/drawing/2014/main" id="{507E032D-D95A-3B0D-1C76-091F68B15180}"/>
                </a:ext>
              </a:extLst>
            </p:cNvPr>
            <p:cNvSpPr/>
            <p:nvPr/>
          </p:nvSpPr>
          <p:spPr>
            <a:xfrm>
              <a:off x="8418519" y="3724911"/>
              <a:ext cx="336110" cy="205907"/>
            </a:xfrm>
            <a:custGeom>
              <a:avLst/>
              <a:gdLst/>
              <a:ahLst/>
              <a:cxnLst/>
              <a:rect l="l" t="t" r="r" b="b"/>
              <a:pathLst>
                <a:path w="336110" h="205907" extrusionOk="0">
                  <a:moveTo>
                    <a:pt x="0" y="72431"/>
                  </a:moveTo>
                  <a:lnTo>
                    <a:pt x="100739" y="205908"/>
                  </a:lnTo>
                  <a:lnTo>
                    <a:pt x="336110" y="0"/>
                  </a:lnTo>
                </a:path>
              </a:pathLst>
            </a:custGeom>
            <a:noFill/>
            <a:ln w="86900" cap="rnd" cmpd="sng">
              <a:solidFill>
                <a:srgbClr val="05BD6B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  <p:grpSp>
          <p:nvGrpSpPr>
            <p:cNvPr id="22" name="Google Shape;5532;p77">
              <a:extLst>
                <a:ext uri="{FF2B5EF4-FFF2-40B4-BE49-F238E27FC236}">
                  <a16:creationId xmlns:a16="http://schemas.microsoft.com/office/drawing/2014/main" id="{A3A12206-F893-60B0-07D2-546676A032A2}"/>
                </a:ext>
              </a:extLst>
            </p:cNvPr>
            <p:cNvGrpSpPr/>
            <p:nvPr/>
          </p:nvGrpSpPr>
          <p:grpSpPr>
            <a:xfrm>
              <a:off x="8952858" y="3795224"/>
              <a:ext cx="771515" cy="266135"/>
              <a:chOff x="8952858" y="3586879"/>
              <a:chExt cx="771515" cy="266135"/>
            </a:xfrm>
          </p:grpSpPr>
          <p:sp>
            <p:nvSpPr>
              <p:cNvPr id="47" name="Google Shape;5533;p77">
                <a:extLst>
                  <a:ext uri="{FF2B5EF4-FFF2-40B4-BE49-F238E27FC236}">
                    <a16:creationId xmlns:a16="http://schemas.microsoft.com/office/drawing/2014/main" id="{CAF618E7-30DB-8454-6F97-4C25901D4BFD}"/>
                  </a:ext>
                </a:extLst>
              </p:cNvPr>
              <p:cNvSpPr/>
              <p:nvPr/>
            </p:nvSpPr>
            <p:spPr>
              <a:xfrm>
                <a:off x="8974980" y="3586879"/>
                <a:ext cx="204728" cy="28596"/>
              </a:xfrm>
              <a:custGeom>
                <a:avLst/>
                <a:gdLst/>
                <a:ahLst/>
                <a:cxnLst/>
                <a:rect l="l" t="t" r="r" b="b"/>
                <a:pathLst>
                  <a:path w="204728" h="28596" extrusionOk="0">
                    <a:moveTo>
                      <a:pt x="0" y="0"/>
                    </a:moveTo>
                    <a:lnTo>
                      <a:pt x="204728" y="28597"/>
                    </a:lnTo>
                  </a:path>
                </a:pathLst>
              </a:custGeom>
              <a:noFill/>
              <a:ln w="86900" cap="rnd" cmpd="sng">
                <a:solidFill>
                  <a:srgbClr val="D4D4D4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48" name="Google Shape;5534;p77">
                <a:extLst>
                  <a:ext uri="{FF2B5EF4-FFF2-40B4-BE49-F238E27FC236}">
                    <a16:creationId xmlns:a16="http://schemas.microsoft.com/office/drawing/2014/main" id="{831DFAC1-96C7-CB42-F696-165DE43E8AD0}"/>
                  </a:ext>
                </a:extLst>
              </p:cNvPr>
              <p:cNvSpPr/>
              <p:nvPr/>
            </p:nvSpPr>
            <p:spPr>
              <a:xfrm>
                <a:off x="8952858" y="3745222"/>
                <a:ext cx="771515" cy="107792"/>
              </a:xfrm>
              <a:custGeom>
                <a:avLst/>
                <a:gdLst/>
                <a:ahLst/>
                <a:cxnLst/>
                <a:rect l="l" t="t" r="r" b="b"/>
                <a:pathLst>
                  <a:path w="771515" h="107792" extrusionOk="0">
                    <a:moveTo>
                      <a:pt x="0" y="0"/>
                    </a:moveTo>
                    <a:lnTo>
                      <a:pt x="771516" y="107792"/>
                    </a:lnTo>
                  </a:path>
                </a:pathLst>
              </a:custGeom>
              <a:noFill/>
              <a:ln w="86900" cap="rnd" cmpd="sng">
                <a:solidFill>
                  <a:srgbClr val="D4D4D4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</p:grpSp>
        <p:sp>
          <p:nvSpPr>
            <p:cNvPr id="23" name="Google Shape;5535;p77">
              <a:extLst>
                <a:ext uri="{FF2B5EF4-FFF2-40B4-BE49-F238E27FC236}">
                  <a16:creationId xmlns:a16="http://schemas.microsoft.com/office/drawing/2014/main" id="{15129A3A-F410-525D-5E4E-D05E2C9CF2A0}"/>
                </a:ext>
              </a:extLst>
            </p:cNvPr>
            <p:cNvSpPr/>
            <p:nvPr/>
          </p:nvSpPr>
          <p:spPr>
            <a:xfrm>
              <a:off x="7945851" y="1704735"/>
              <a:ext cx="2275310" cy="2666183"/>
            </a:xfrm>
            <a:custGeom>
              <a:avLst/>
              <a:gdLst/>
              <a:ahLst/>
              <a:cxnLst/>
              <a:rect l="l" t="t" r="r" b="b"/>
              <a:pathLst>
                <a:path w="2275310" h="2666183" extrusionOk="0">
                  <a:moveTo>
                    <a:pt x="2275311" y="2666184"/>
                  </a:moveTo>
                  <a:lnTo>
                    <a:pt x="0" y="2666184"/>
                  </a:lnTo>
                  <a:lnTo>
                    <a:pt x="0" y="0"/>
                  </a:lnTo>
                  <a:lnTo>
                    <a:pt x="2275311" y="307971"/>
                  </a:lnTo>
                  <a:close/>
                </a:path>
              </a:pathLst>
            </a:custGeom>
            <a:solidFill>
              <a:srgbClr val="363636">
                <a:alpha val="1882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24" name="Google Shape;5536;p77">
              <a:extLst>
                <a:ext uri="{FF2B5EF4-FFF2-40B4-BE49-F238E27FC236}">
                  <a16:creationId xmlns:a16="http://schemas.microsoft.com/office/drawing/2014/main" id="{E98FFC2A-B34E-821E-09E9-BE16175A99CD}"/>
                </a:ext>
              </a:extLst>
            </p:cNvPr>
            <p:cNvSpPr/>
            <p:nvPr/>
          </p:nvSpPr>
          <p:spPr>
            <a:xfrm>
              <a:off x="7769383" y="1531901"/>
              <a:ext cx="2275334" cy="2666183"/>
            </a:xfrm>
            <a:custGeom>
              <a:avLst/>
              <a:gdLst/>
              <a:ahLst/>
              <a:cxnLst/>
              <a:rect l="l" t="t" r="r" b="b"/>
              <a:pathLst>
                <a:path w="2275334" h="2666183" extrusionOk="0">
                  <a:moveTo>
                    <a:pt x="0" y="0"/>
                  </a:moveTo>
                  <a:lnTo>
                    <a:pt x="2275335" y="0"/>
                  </a:lnTo>
                  <a:lnTo>
                    <a:pt x="2275335" y="2666184"/>
                  </a:lnTo>
                  <a:lnTo>
                    <a:pt x="0" y="2666184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25" name="Google Shape;5537;p77">
              <a:extLst>
                <a:ext uri="{FF2B5EF4-FFF2-40B4-BE49-F238E27FC236}">
                  <a16:creationId xmlns:a16="http://schemas.microsoft.com/office/drawing/2014/main" id="{018583A2-8706-86C6-96B1-790C1551D40B}"/>
                </a:ext>
              </a:extLst>
            </p:cNvPr>
            <p:cNvSpPr/>
            <p:nvPr/>
          </p:nvSpPr>
          <p:spPr>
            <a:xfrm>
              <a:off x="8157271" y="2039810"/>
              <a:ext cx="322846" cy="236502"/>
            </a:xfrm>
            <a:custGeom>
              <a:avLst/>
              <a:gdLst/>
              <a:ahLst/>
              <a:cxnLst/>
              <a:rect l="l" t="t" r="r" b="b"/>
              <a:pathLst>
                <a:path w="322846" h="236502" extrusionOk="0">
                  <a:moveTo>
                    <a:pt x="0" y="118263"/>
                  </a:moveTo>
                  <a:lnTo>
                    <a:pt x="118239" y="236503"/>
                  </a:lnTo>
                  <a:lnTo>
                    <a:pt x="322847" y="0"/>
                  </a:lnTo>
                </a:path>
              </a:pathLst>
            </a:custGeom>
            <a:noFill/>
            <a:ln w="86900" cap="rnd" cmpd="sng">
              <a:solidFill>
                <a:srgbClr val="05BD6B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  <p:grpSp>
          <p:nvGrpSpPr>
            <p:cNvPr id="26" name="Google Shape;5538;p77">
              <a:extLst>
                <a:ext uri="{FF2B5EF4-FFF2-40B4-BE49-F238E27FC236}">
                  <a16:creationId xmlns:a16="http://schemas.microsoft.com/office/drawing/2014/main" id="{298C44EB-9114-2BF8-49AB-3FD0F3B473CC}"/>
                </a:ext>
              </a:extLst>
            </p:cNvPr>
            <p:cNvGrpSpPr/>
            <p:nvPr/>
          </p:nvGrpSpPr>
          <p:grpSpPr>
            <a:xfrm>
              <a:off x="8708075" y="2078974"/>
              <a:ext cx="965941" cy="162290"/>
              <a:chOff x="8708075" y="1870629"/>
              <a:chExt cx="965941" cy="162290"/>
            </a:xfrm>
          </p:grpSpPr>
          <p:sp>
            <p:nvSpPr>
              <p:cNvPr id="45" name="Google Shape;5539;p77">
                <a:extLst>
                  <a:ext uri="{FF2B5EF4-FFF2-40B4-BE49-F238E27FC236}">
                    <a16:creationId xmlns:a16="http://schemas.microsoft.com/office/drawing/2014/main" id="{26558E73-A5C8-84FA-DD92-F9883BA7CF68}"/>
                  </a:ext>
                </a:extLst>
              </p:cNvPr>
              <p:cNvSpPr/>
              <p:nvPr/>
            </p:nvSpPr>
            <p:spPr>
              <a:xfrm>
                <a:off x="8708075" y="1870629"/>
                <a:ext cx="965941" cy="2407"/>
              </a:xfrm>
              <a:custGeom>
                <a:avLst/>
                <a:gdLst/>
                <a:ahLst/>
                <a:cxnLst/>
                <a:rect l="l" t="t" r="r" b="b"/>
                <a:pathLst>
                  <a:path w="965941" h="2407" extrusionOk="0">
                    <a:moveTo>
                      <a:pt x="0" y="0"/>
                    </a:moveTo>
                    <a:lnTo>
                      <a:pt x="965941" y="0"/>
                    </a:lnTo>
                  </a:path>
                </a:pathLst>
              </a:custGeom>
              <a:noFill/>
              <a:ln w="86900" cap="rnd" cmpd="sng">
                <a:solidFill>
                  <a:srgbClr val="D4D4D4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46" name="Google Shape;5540;p77">
                <a:extLst>
                  <a:ext uri="{FF2B5EF4-FFF2-40B4-BE49-F238E27FC236}">
                    <a16:creationId xmlns:a16="http://schemas.microsoft.com/office/drawing/2014/main" id="{DA792954-8B94-24D7-8FAD-D429FA989965}"/>
                  </a:ext>
                </a:extLst>
              </p:cNvPr>
              <p:cNvSpPr/>
              <p:nvPr/>
            </p:nvSpPr>
            <p:spPr>
              <a:xfrm>
                <a:off x="8708075" y="2030512"/>
                <a:ext cx="656646" cy="2407"/>
              </a:xfrm>
              <a:custGeom>
                <a:avLst/>
                <a:gdLst/>
                <a:ahLst/>
                <a:cxnLst/>
                <a:rect l="l" t="t" r="r" b="b"/>
                <a:pathLst>
                  <a:path w="656646" h="2407" extrusionOk="0">
                    <a:moveTo>
                      <a:pt x="0" y="0"/>
                    </a:moveTo>
                    <a:lnTo>
                      <a:pt x="656646" y="0"/>
                    </a:lnTo>
                  </a:path>
                </a:pathLst>
              </a:custGeom>
              <a:noFill/>
              <a:ln w="86900" cap="rnd" cmpd="sng">
                <a:solidFill>
                  <a:srgbClr val="D4D4D4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</p:grpSp>
        <p:grpSp>
          <p:nvGrpSpPr>
            <p:cNvPr id="28" name="Google Shape;5544;p77">
              <a:extLst>
                <a:ext uri="{FF2B5EF4-FFF2-40B4-BE49-F238E27FC236}">
                  <a16:creationId xmlns:a16="http://schemas.microsoft.com/office/drawing/2014/main" id="{C4CEBECA-C3DF-20A8-00AC-88C34E6F2118}"/>
                </a:ext>
              </a:extLst>
            </p:cNvPr>
            <p:cNvGrpSpPr/>
            <p:nvPr/>
          </p:nvGrpSpPr>
          <p:grpSpPr>
            <a:xfrm>
              <a:off x="8708075" y="2776807"/>
              <a:ext cx="965941" cy="162290"/>
              <a:chOff x="8708075" y="2568462"/>
              <a:chExt cx="965941" cy="162290"/>
            </a:xfrm>
          </p:grpSpPr>
          <p:sp>
            <p:nvSpPr>
              <p:cNvPr id="41" name="Google Shape;5545;p77">
                <a:extLst>
                  <a:ext uri="{FF2B5EF4-FFF2-40B4-BE49-F238E27FC236}">
                    <a16:creationId xmlns:a16="http://schemas.microsoft.com/office/drawing/2014/main" id="{B864E543-17D9-7294-4FD4-4911D6A5512D}"/>
                  </a:ext>
                </a:extLst>
              </p:cNvPr>
              <p:cNvSpPr/>
              <p:nvPr/>
            </p:nvSpPr>
            <p:spPr>
              <a:xfrm>
                <a:off x="8708075" y="2568462"/>
                <a:ext cx="965941" cy="2407"/>
              </a:xfrm>
              <a:custGeom>
                <a:avLst/>
                <a:gdLst/>
                <a:ahLst/>
                <a:cxnLst/>
                <a:rect l="l" t="t" r="r" b="b"/>
                <a:pathLst>
                  <a:path w="965941" h="2407" extrusionOk="0">
                    <a:moveTo>
                      <a:pt x="0" y="0"/>
                    </a:moveTo>
                    <a:lnTo>
                      <a:pt x="965941" y="0"/>
                    </a:lnTo>
                  </a:path>
                </a:pathLst>
              </a:custGeom>
              <a:noFill/>
              <a:ln w="86900" cap="rnd" cmpd="sng">
                <a:solidFill>
                  <a:srgbClr val="D4D4D4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42" name="Google Shape;5546;p77">
                <a:extLst>
                  <a:ext uri="{FF2B5EF4-FFF2-40B4-BE49-F238E27FC236}">
                    <a16:creationId xmlns:a16="http://schemas.microsoft.com/office/drawing/2014/main" id="{5D610427-48DB-9E24-C6D4-E6F5F6F29A6A}"/>
                  </a:ext>
                </a:extLst>
              </p:cNvPr>
              <p:cNvSpPr/>
              <p:nvPr/>
            </p:nvSpPr>
            <p:spPr>
              <a:xfrm>
                <a:off x="8708075" y="2728345"/>
                <a:ext cx="477602" cy="2407"/>
              </a:xfrm>
              <a:custGeom>
                <a:avLst/>
                <a:gdLst/>
                <a:ahLst/>
                <a:cxnLst/>
                <a:rect l="l" t="t" r="r" b="b"/>
                <a:pathLst>
                  <a:path w="477602" h="2407" extrusionOk="0">
                    <a:moveTo>
                      <a:pt x="0" y="0"/>
                    </a:moveTo>
                    <a:lnTo>
                      <a:pt x="477603" y="0"/>
                    </a:lnTo>
                  </a:path>
                </a:pathLst>
              </a:custGeom>
              <a:noFill/>
              <a:ln w="86900" cap="rnd" cmpd="sng">
                <a:solidFill>
                  <a:srgbClr val="D4D4D4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</p:grpSp>
        <p:sp>
          <p:nvSpPr>
            <p:cNvPr id="29" name="Google Shape;5547;p77">
              <a:extLst>
                <a:ext uri="{FF2B5EF4-FFF2-40B4-BE49-F238E27FC236}">
                  <a16:creationId xmlns:a16="http://schemas.microsoft.com/office/drawing/2014/main" id="{F1423611-2B6E-AB9F-1950-7091006AEE81}"/>
                </a:ext>
              </a:extLst>
            </p:cNvPr>
            <p:cNvSpPr/>
            <p:nvPr/>
          </p:nvSpPr>
          <p:spPr>
            <a:xfrm>
              <a:off x="8157271" y="3435500"/>
              <a:ext cx="322846" cy="236478"/>
            </a:xfrm>
            <a:custGeom>
              <a:avLst/>
              <a:gdLst/>
              <a:ahLst/>
              <a:cxnLst/>
              <a:rect l="l" t="t" r="r" b="b"/>
              <a:pathLst>
                <a:path w="322846" h="236478" extrusionOk="0">
                  <a:moveTo>
                    <a:pt x="0" y="118239"/>
                  </a:moveTo>
                  <a:lnTo>
                    <a:pt x="118239" y="236478"/>
                  </a:lnTo>
                  <a:lnTo>
                    <a:pt x="322847" y="0"/>
                  </a:lnTo>
                </a:path>
              </a:pathLst>
            </a:custGeom>
            <a:noFill/>
            <a:ln w="86900" cap="rnd" cmpd="sng">
              <a:solidFill>
                <a:srgbClr val="05BD6B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  <p:grpSp>
          <p:nvGrpSpPr>
            <p:cNvPr id="30" name="Google Shape;5548;p77">
              <a:extLst>
                <a:ext uri="{FF2B5EF4-FFF2-40B4-BE49-F238E27FC236}">
                  <a16:creationId xmlns:a16="http://schemas.microsoft.com/office/drawing/2014/main" id="{D6FDC3F4-A0A8-86C9-B1EE-5ECDEEBE3491}"/>
                </a:ext>
              </a:extLst>
            </p:cNvPr>
            <p:cNvGrpSpPr/>
            <p:nvPr/>
          </p:nvGrpSpPr>
          <p:grpSpPr>
            <a:xfrm>
              <a:off x="8708075" y="3474640"/>
              <a:ext cx="965941" cy="162290"/>
              <a:chOff x="8708075" y="3266295"/>
              <a:chExt cx="965941" cy="162290"/>
            </a:xfrm>
          </p:grpSpPr>
          <p:sp>
            <p:nvSpPr>
              <p:cNvPr id="39" name="Google Shape;5549;p77">
                <a:extLst>
                  <a:ext uri="{FF2B5EF4-FFF2-40B4-BE49-F238E27FC236}">
                    <a16:creationId xmlns:a16="http://schemas.microsoft.com/office/drawing/2014/main" id="{D41A5C48-B6BC-61DF-C8E7-B179AE4C4269}"/>
                  </a:ext>
                </a:extLst>
              </p:cNvPr>
              <p:cNvSpPr/>
              <p:nvPr/>
            </p:nvSpPr>
            <p:spPr>
              <a:xfrm>
                <a:off x="8708075" y="3266295"/>
                <a:ext cx="965941" cy="2407"/>
              </a:xfrm>
              <a:custGeom>
                <a:avLst/>
                <a:gdLst/>
                <a:ahLst/>
                <a:cxnLst/>
                <a:rect l="l" t="t" r="r" b="b"/>
                <a:pathLst>
                  <a:path w="965941" h="2407" extrusionOk="0">
                    <a:moveTo>
                      <a:pt x="0" y="0"/>
                    </a:moveTo>
                    <a:lnTo>
                      <a:pt x="965941" y="0"/>
                    </a:lnTo>
                  </a:path>
                </a:pathLst>
              </a:custGeom>
              <a:noFill/>
              <a:ln w="86900" cap="rnd" cmpd="sng">
                <a:solidFill>
                  <a:srgbClr val="D4D4D4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40" name="Google Shape;5550;p77">
                <a:extLst>
                  <a:ext uri="{FF2B5EF4-FFF2-40B4-BE49-F238E27FC236}">
                    <a16:creationId xmlns:a16="http://schemas.microsoft.com/office/drawing/2014/main" id="{3385F5C7-DB8C-A0E2-6F6F-70CD3A0DDDF6}"/>
                  </a:ext>
                </a:extLst>
              </p:cNvPr>
              <p:cNvSpPr/>
              <p:nvPr/>
            </p:nvSpPr>
            <p:spPr>
              <a:xfrm>
                <a:off x="8708075" y="3426178"/>
                <a:ext cx="779026" cy="2407"/>
              </a:xfrm>
              <a:custGeom>
                <a:avLst/>
                <a:gdLst/>
                <a:ahLst/>
                <a:cxnLst/>
                <a:rect l="l" t="t" r="r" b="b"/>
                <a:pathLst>
                  <a:path w="779026" h="2407" extrusionOk="0">
                    <a:moveTo>
                      <a:pt x="0" y="0"/>
                    </a:moveTo>
                    <a:lnTo>
                      <a:pt x="779026" y="0"/>
                    </a:lnTo>
                  </a:path>
                </a:pathLst>
              </a:custGeom>
              <a:noFill/>
              <a:ln w="86900" cap="rnd" cmpd="sng">
                <a:solidFill>
                  <a:srgbClr val="D4D4D4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</p:grpSp>
        <p:sp>
          <p:nvSpPr>
            <p:cNvPr id="31" name="Google Shape;5551;p77">
              <a:extLst>
                <a:ext uri="{FF2B5EF4-FFF2-40B4-BE49-F238E27FC236}">
                  <a16:creationId xmlns:a16="http://schemas.microsoft.com/office/drawing/2014/main" id="{ADC245C9-557E-9DEF-5212-E6E0476F7167}"/>
                </a:ext>
              </a:extLst>
            </p:cNvPr>
            <p:cNvSpPr/>
            <p:nvPr/>
          </p:nvSpPr>
          <p:spPr>
            <a:xfrm>
              <a:off x="10967474" y="3214090"/>
              <a:ext cx="62369" cy="111956"/>
            </a:xfrm>
            <a:custGeom>
              <a:avLst/>
              <a:gdLst/>
              <a:ahLst/>
              <a:cxnLst/>
              <a:rect l="l" t="t" r="r" b="b"/>
              <a:pathLst>
                <a:path w="62369" h="111956" extrusionOk="0">
                  <a:moveTo>
                    <a:pt x="0" y="0"/>
                  </a:moveTo>
                  <a:lnTo>
                    <a:pt x="62369" y="0"/>
                  </a:lnTo>
                  <a:lnTo>
                    <a:pt x="62369" y="111957"/>
                  </a:lnTo>
                  <a:lnTo>
                    <a:pt x="0" y="1119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2" name="Google Shape;5552;p77">
              <a:extLst>
                <a:ext uri="{FF2B5EF4-FFF2-40B4-BE49-F238E27FC236}">
                  <a16:creationId xmlns:a16="http://schemas.microsoft.com/office/drawing/2014/main" id="{37DD3EA0-873D-8DCE-7626-F6B5D61D6851}"/>
                </a:ext>
              </a:extLst>
            </p:cNvPr>
            <p:cNvSpPr/>
            <p:nvPr/>
          </p:nvSpPr>
          <p:spPr>
            <a:xfrm>
              <a:off x="11014317" y="3157642"/>
              <a:ext cx="28885" cy="805263"/>
            </a:xfrm>
            <a:custGeom>
              <a:avLst/>
              <a:gdLst/>
              <a:ahLst/>
              <a:cxnLst/>
              <a:rect l="l" t="t" r="r" b="b"/>
              <a:pathLst>
                <a:path w="28885" h="805263" extrusionOk="0">
                  <a:moveTo>
                    <a:pt x="0" y="805264"/>
                  </a:moveTo>
                  <a:lnTo>
                    <a:pt x="0" y="805264"/>
                  </a:lnTo>
                  <a:lnTo>
                    <a:pt x="0" y="0"/>
                  </a:lnTo>
                  <a:lnTo>
                    <a:pt x="28886" y="0"/>
                  </a:lnTo>
                  <a:lnTo>
                    <a:pt x="28886" y="776354"/>
                  </a:lnTo>
                  <a:cubicBezTo>
                    <a:pt x="28886" y="792314"/>
                    <a:pt x="15959" y="805264"/>
                    <a:pt x="0" y="805264"/>
                  </a:cubicBezTo>
                  <a:close/>
                </a:path>
              </a:pathLst>
            </a:custGeom>
            <a:solidFill>
              <a:srgbClr val="177DA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3" name="Google Shape;5553;p77">
              <a:extLst>
                <a:ext uri="{FF2B5EF4-FFF2-40B4-BE49-F238E27FC236}">
                  <a16:creationId xmlns:a16="http://schemas.microsoft.com/office/drawing/2014/main" id="{85A77350-995C-A1B4-6F8A-3A39AC727F62}"/>
                </a:ext>
              </a:extLst>
            </p:cNvPr>
            <p:cNvSpPr/>
            <p:nvPr/>
          </p:nvSpPr>
          <p:spPr>
            <a:xfrm>
              <a:off x="10896776" y="3023636"/>
              <a:ext cx="159377" cy="2048340"/>
            </a:xfrm>
            <a:custGeom>
              <a:avLst/>
              <a:gdLst/>
              <a:ahLst/>
              <a:cxnLst/>
              <a:rect l="l" t="t" r="r" b="b"/>
              <a:pathLst>
                <a:path w="159377" h="2048340" extrusionOk="0">
                  <a:moveTo>
                    <a:pt x="159377" y="1878516"/>
                  </a:moveTo>
                  <a:lnTo>
                    <a:pt x="79677" y="2048341"/>
                  </a:lnTo>
                  <a:lnTo>
                    <a:pt x="0" y="1878516"/>
                  </a:lnTo>
                  <a:lnTo>
                    <a:pt x="0" y="79701"/>
                  </a:lnTo>
                  <a:cubicBezTo>
                    <a:pt x="0" y="35698"/>
                    <a:pt x="35674" y="0"/>
                    <a:pt x="79677" y="0"/>
                  </a:cubicBezTo>
                  <a:lnTo>
                    <a:pt x="79677" y="0"/>
                  </a:lnTo>
                  <a:cubicBezTo>
                    <a:pt x="123679" y="0"/>
                    <a:pt x="159377" y="35674"/>
                    <a:pt x="159377" y="79701"/>
                  </a:cubicBezTo>
                  <a:lnTo>
                    <a:pt x="159377" y="1878516"/>
                  </a:lnTo>
                  <a:close/>
                </a:path>
              </a:pathLst>
            </a:custGeom>
            <a:solidFill>
              <a:srgbClr val="363636">
                <a:alpha val="1882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4" name="Google Shape;5554;p77">
              <a:extLst>
                <a:ext uri="{FF2B5EF4-FFF2-40B4-BE49-F238E27FC236}">
                  <a16:creationId xmlns:a16="http://schemas.microsoft.com/office/drawing/2014/main" id="{F44DE4E4-09E2-D1AA-5D1E-5AAA3699B09C}"/>
                </a:ext>
              </a:extLst>
            </p:cNvPr>
            <p:cNvSpPr/>
            <p:nvPr/>
          </p:nvSpPr>
          <p:spPr>
            <a:xfrm>
              <a:off x="10808795" y="2988396"/>
              <a:ext cx="159377" cy="1878491"/>
            </a:xfrm>
            <a:custGeom>
              <a:avLst/>
              <a:gdLst/>
              <a:ahLst/>
              <a:cxnLst/>
              <a:rect l="l" t="t" r="r" b="b"/>
              <a:pathLst>
                <a:path w="159377" h="1878491" extrusionOk="0">
                  <a:moveTo>
                    <a:pt x="159377" y="1878492"/>
                  </a:moveTo>
                  <a:lnTo>
                    <a:pt x="0" y="1878492"/>
                  </a:lnTo>
                  <a:lnTo>
                    <a:pt x="0" y="79677"/>
                  </a:lnTo>
                  <a:cubicBezTo>
                    <a:pt x="0" y="35674"/>
                    <a:pt x="35674" y="0"/>
                    <a:pt x="79677" y="0"/>
                  </a:cubicBezTo>
                  <a:lnTo>
                    <a:pt x="79677" y="0"/>
                  </a:lnTo>
                  <a:cubicBezTo>
                    <a:pt x="123679" y="0"/>
                    <a:pt x="159377" y="35674"/>
                    <a:pt x="159377" y="79677"/>
                  </a:cubicBezTo>
                  <a:lnTo>
                    <a:pt x="159377" y="187849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5" name="Google Shape;5555;p77">
              <a:extLst>
                <a:ext uri="{FF2B5EF4-FFF2-40B4-BE49-F238E27FC236}">
                  <a16:creationId xmlns:a16="http://schemas.microsoft.com/office/drawing/2014/main" id="{87DA5724-127A-CB83-2FC5-392A5EAF3857}"/>
                </a:ext>
              </a:extLst>
            </p:cNvPr>
            <p:cNvSpPr/>
            <p:nvPr/>
          </p:nvSpPr>
          <p:spPr>
            <a:xfrm>
              <a:off x="10888471" y="2988396"/>
              <a:ext cx="79700" cy="1878491"/>
            </a:xfrm>
            <a:custGeom>
              <a:avLst/>
              <a:gdLst/>
              <a:ahLst/>
              <a:cxnLst/>
              <a:rect l="l" t="t" r="r" b="b"/>
              <a:pathLst>
                <a:path w="79700" h="1878491" extrusionOk="0">
                  <a:moveTo>
                    <a:pt x="79701" y="1878492"/>
                  </a:moveTo>
                  <a:lnTo>
                    <a:pt x="0" y="1878492"/>
                  </a:lnTo>
                  <a:lnTo>
                    <a:pt x="0" y="0"/>
                  </a:lnTo>
                  <a:lnTo>
                    <a:pt x="0" y="0"/>
                  </a:lnTo>
                  <a:cubicBezTo>
                    <a:pt x="44003" y="0"/>
                    <a:pt x="79701" y="35674"/>
                    <a:pt x="79701" y="79677"/>
                  </a:cubicBezTo>
                  <a:lnTo>
                    <a:pt x="79701" y="1878492"/>
                  </a:lnTo>
                  <a:close/>
                </a:path>
              </a:pathLst>
            </a:custGeom>
            <a:solidFill>
              <a:srgbClr val="2074D9">
                <a:alpha val="16862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6" name="Google Shape;5556;p77">
              <a:extLst>
                <a:ext uri="{FF2B5EF4-FFF2-40B4-BE49-F238E27FC236}">
                  <a16:creationId xmlns:a16="http://schemas.microsoft.com/office/drawing/2014/main" id="{8E74D7DA-D39F-1A4E-9E22-8D14C02C77E1}"/>
                </a:ext>
              </a:extLst>
            </p:cNvPr>
            <p:cNvSpPr/>
            <p:nvPr/>
          </p:nvSpPr>
          <p:spPr>
            <a:xfrm>
              <a:off x="10808795" y="3763594"/>
              <a:ext cx="159377" cy="39525"/>
            </a:xfrm>
            <a:custGeom>
              <a:avLst/>
              <a:gdLst/>
              <a:ahLst/>
              <a:cxnLst/>
              <a:rect l="l" t="t" r="r" b="b"/>
              <a:pathLst>
                <a:path w="159377" h="39525" extrusionOk="0">
                  <a:moveTo>
                    <a:pt x="0" y="0"/>
                  </a:moveTo>
                  <a:lnTo>
                    <a:pt x="159377" y="0"/>
                  </a:lnTo>
                  <a:lnTo>
                    <a:pt x="159377" y="39526"/>
                  </a:lnTo>
                  <a:lnTo>
                    <a:pt x="0" y="39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7" name="Google Shape;5557;p77">
              <a:extLst>
                <a:ext uri="{FF2B5EF4-FFF2-40B4-BE49-F238E27FC236}">
                  <a16:creationId xmlns:a16="http://schemas.microsoft.com/office/drawing/2014/main" id="{4141E2D4-71C2-D855-CBAD-A6C29FCC8B29}"/>
                </a:ext>
              </a:extLst>
            </p:cNvPr>
            <p:cNvSpPr/>
            <p:nvPr/>
          </p:nvSpPr>
          <p:spPr>
            <a:xfrm>
              <a:off x="10818640" y="4866887"/>
              <a:ext cx="137761" cy="169439"/>
            </a:xfrm>
            <a:custGeom>
              <a:avLst/>
              <a:gdLst/>
              <a:ahLst/>
              <a:cxnLst/>
              <a:rect l="l" t="t" r="r" b="b"/>
              <a:pathLst>
                <a:path w="137761" h="169439" extrusionOk="0">
                  <a:moveTo>
                    <a:pt x="77438" y="169439"/>
                  </a:moveTo>
                  <a:lnTo>
                    <a:pt x="60299" y="169439"/>
                  </a:lnTo>
                  <a:lnTo>
                    <a:pt x="0" y="0"/>
                  </a:lnTo>
                  <a:lnTo>
                    <a:pt x="1377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8" name="Google Shape;5558;p77">
              <a:extLst>
                <a:ext uri="{FF2B5EF4-FFF2-40B4-BE49-F238E27FC236}">
                  <a16:creationId xmlns:a16="http://schemas.microsoft.com/office/drawing/2014/main" id="{E22CD87F-5D3D-7E83-5160-1672DE43610F}"/>
                </a:ext>
              </a:extLst>
            </p:cNvPr>
            <p:cNvSpPr/>
            <p:nvPr/>
          </p:nvSpPr>
          <p:spPr>
            <a:xfrm>
              <a:off x="10867168" y="5007417"/>
              <a:ext cx="40680" cy="50044"/>
            </a:xfrm>
            <a:custGeom>
              <a:avLst/>
              <a:gdLst/>
              <a:ahLst/>
              <a:cxnLst/>
              <a:rect l="l" t="t" r="r" b="b"/>
              <a:pathLst>
                <a:path w="40680" h="50044" extrusionOk="0">
                  <a:moveTo>
                    <a:pt x="20341" y="50045"/>
                  </a:moveTo>
                  <a:lnTo>
                    <a:pt x="20341" y="50045"/>
                  </a:lnTo>
                  <a:cubicBezTo>
                    <a:pt x="18824" y="50045"/>
                    <a:pt x="17476" y="49082"/>
                    <a:pt x="16971" y="47662"/>
                  </a:cubicBezTo>
                  <a:lnTo>
                    <a:pt x="0" y="0"/>
                  </a:lnTo>
                  <a:lnTo>
                    <a:pt x="40681" y="0"/>
                  </a:lnTo>
                  <a:lnTo>
                    <a:pt x="23710" y="47662"/>
                  </a:lnTo>
                  <a:cubicBezTo>
                    <a:pt x="23205" y="49106"/>
                    <a:pt x="21857" y="50045"/>
                    <a:pt x="20341" y="50045"/>
                  </a:cubicBezTo>
                  <a:close/>
                </a:path>
              </a:pathLst>
            </a:custGeom>
            <a:solidFill>
              <a:srgbClr val="177DA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60" name="Google Shape;5537;p77">
              <a:extLst>
                <a:ext uri="{FF2B5EF4-FFF2-40B4-BE49-F238E27FC236}">
                  <a16:creationId xmlns:a16="http://schemas.microsoft.com/office/drawing/2014/main" id="{FB975F7C-1047-EA05-4353-40F3965E4551}"/>
                </a:ext>
              </a:extLst>
            </p:cNvPr>
            <p:cNvSpPr/>
            <p:nvPr/>
          </p:nvSpPr>
          <p:spPr>
            <a:xfrm>
              <a:off x="8157271" y="2727720"/>
              <a:ext cx="322846" cy="236502"/>
            </a:xfrm>
            <a:custGeom>
              <a:avLst/>
              <a:gdLst/>
              <a:ahLst/>
              <a:cxnLst/>
              <a:rect l="l" t="t" r="r" b="b"/>
              <a:pathLst>
                <a:path w="322846" h="236502" extrusionOk="0">
                  <a:moveTo>
                    <a:pt x="0" y="118263"/>
                  </a:moveTo>
                  <a:lnTo>
                    <a:pt x="118239" y="236503"/>
                  </a:lnTo>
                  <a:lnTo>
                    <a:pt x="322847" y="0"/>
                  </a:lnTo>
                </a:path>
              </a:pathLst>
            </a:custGeom>
            <a:noFill/>
            <a:ln w="86900" cap="rnd" cmpd="sng">
              <a:solidFill>
                <a:srgbClr val="05BD6B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</p:grpSp>
      <p:sp>
        <p:nvSpPr>
          <p:cNvPr id="55" name="Google Shape;5559;p77">
            <a:extLst>
              <a:ext uri="{FF2B5EF4-FFF2-40B4-BE49-F238E27FC236}">
                <a16:creationId xmlns:a16="http://schemas.microsoft.com/office/drawing/2014/main" id="{14BD0B30-F9A3-40F9-CC17-2E96239A2382}"/>
              </a:ext>
            </a:extLst>
          </p:cNvPr>
          <p:cNvSpPr txBox="1"/>
          <p:nvPr/>
        </p:nvSpPr>
        <p:spPr>
          <a:xfrm>
            <a:off x="550863" y="1549176"/>
            <a:ext cx="5678223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0A7E0"/>
              </a:buClr>
              <a:buSzPts val="1800"/>
              <a:buFont typeface="Arial"/>
              <a:buNone/>
            </a:pPr>
            <a:r>
              <a:rPr lang="en-US" sz="1800" b="1" i="0" u="none" strike="noStrike" cap="none" dirty="0">
                <a:solidFill>
                  <a:schemeClr val="accent1"/>
                </a:solidFill>
                <a:ea typeface="Arial"/>
                <a:cs typeface="Calibri" panose="020F0502020204030204" pitchFamily="34" charset="0"/>
                <a:sym typeface="Arial"/>
              </a:rPr>
              <a:t>Title</a:t>
            </a:r>
            <a:endParaRPr dirty="0">
              <a:solidFill>
                <a:schemeClr val="accent1"/>
              </a:solidFill>
              <a:cs typeface="Calibri" panose="020F0502020204030204" pitchFamily="34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rPr>
              <a:t>Insert Text Here</a:t>
            </a:r>
            <a:endParaRPr dirty="0">
              <a:cs typeface="Calibri" panose="020F0502020204030204" pitchFamily="34" charset="0"/>
            </a:endParaRPr>
          </a:p>
        </p:txBody>
      </p:sp>
      <p:cxnSp>
        <p:nvCxnSpPr>
          <p:cNvPr id="56" name="Google Shape;5560;p77">
            <a:extLst>
              <a:ext uri="{FF2B5EF4-FFF2-40B4-BE49-F238E27FC236}">
                <a16:creationId xmlns:a16="http://schemas.microsoft.com/office/drawing/2014/main" id="{BFC2B281-ADAC-62F5-870D-56D8B27080E8}"/>
              </a:ext>
            </a:extLst>
          </p:cNvPr>
          <p:cNvCxnSpPr/>
          <p:nvPr/>
        </p:nvCxnSpPr>
        <p:spPr>
          <a:xfrm>
            <a:off x="550863" y="2724989"/>
            <a:ext cx="6463395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57" name="Google Shape;5561;p77">
            <a:extLst>
              <a:ext uri="{FF2B5EF4-FFF2-40B4-BE49-F238E27FC236}">
                <a16:creationId xmlns:a16="http://schemas.microsoft.com/office/drawing/2014/main" id="{AF6B3DDA-4623-118A-4395-FF8EA11CA68C}"/>
              </a:ext>
            </a:extLst>
          </p:cNvPr>
          <p:cNvCxnSpPr/>
          <p:nvPr/>
        </p:nvCxnSpPr>
        <p:spPr>
          <a:xfrm>
            <a:off x="550863" y="4368729"/>
            <a:ext cx="6463395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" name="Google Shape;5562;p77">
            <a:extLst>
              <a:ext uri="{FF2B5EF4-FFF2-40B4-BE49-F238E27FC236}">
                <a16:creationId xmlns:a16="http://schemas.microsoft.com/office/drawing/2014/main" id="{58541004-2B99-4920-EBF4-BDD6266F7DF7}"/>
              </a:ext>
            </a:extLst>
          </p:cNvPr>
          <p:cNvSpPr txBox="1"/>
          <p:nvPr/>
        </p:nvSpPr>
        <p:spPr>
          <a:xfrm>
            <a:off x="550863" y="3192916"/>
            <a:ext cx="5678223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rgbClr val="20A7E0"/>
              </a:buClr>
              <a:buSzPts val="1800"/>
            </a:pPr>
            <a:r>
              <a:rPr lang="en-US" b="1" dirty="0">
                <a:solidFill>
                  <a:schemeClr val="accent1"/>
                </a:solidFill>
                <a:cs typeface="Calibri" panose="020F0502020204030204" pitchFamily="34" charset="0"/>
                <a:sym typeface="Arial"/>
              </a:rPr>
              <a:t>Title</a:t>
            </a:r>
            <a:endParaRPr b="1" dirty="0">
              <a:solidFill>
                <a:schemeClr val="accent1"/>
              </a:solidFill>
              <a:cs typeface="Calibri" panose="020F0502020204030204" pitchFamily="34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rPr>
              <a:t>Insert Text Here</a:t>
            </a:r>
            <a:endParaRPr dirty="0">
              <a:cs typeface="Calibri" panose="020F0502020204030204" pitchFamily="34" charset="0"/>
            </a:endParaRPr>
          </a:p>
        </p:txBody>
      </p:sp>
      <p:sp>
        <p:nvSpPr>
          <p:cNvPr id="59" name="Google Shape;5563;p77">
            <a:extLst>
              <a:ext uri="{FF2B5EF4-FFF2-40B4-BE49-F238E27FC236}">
                <a16:creationId xmlns:a16="http://schemas.microsoft.com/office/drawing/2014/main" id="{A382921E-E9D8-0954-5C66-3A1AE35C2C98}"/>
              </a:ext>
            </a:extLst>
          </p:cNvPr>
          <p:cNvSpPr txBox="1"/>
          <p:nvPr/>
        </p:nvSpPr>
        <p:spPr>
          <a:xfrm>
            <a:off x="550863" y="4836656"/>
            <a:ext cx="5678223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rgbClr val="20A7E0"/>
              </a:buClr>
              <a:buSzPts val="1800"/>
            </a:pPr>
            <a:r>
              <a:rPr lang="en-US" b="1" dirty="0">
                <a:solidFill>
                  <a:schemeClr val="accent1"/>
                </a:solidFill>
                <a:cs typeface="Calibri" panose="020F0502020204030204" pitchFamily="34" charset="0"/>
                <a:sym typeface="Arial"/>
              </a:rPr>
              <a:t>Title</a:t>
            </a:r>
            <a:endParaRPr b="1" dirty="0">
              <a:solidFill>
                <a:schemeClr val="accent1"/>
              </a:solidFill>
              <a:cs typeface="Calibri" panose="020F0502020204030204" pitchFamily="34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rPr>
              <a:t>Insert Text Here</a:t>
            </a:r>
            <a:endParaRPr dirty="0"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65437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5</TotalTime>
  <Words>14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498</cp:revision>
  <dcterms:created xsi:type="dcterms:W3CDTF">2021-03-31T02:49:57Z</dcterms:created>
  <dcterms:modified xsi:type="dcterms:W3CDTF">2025-10-16T11:10:19Z</dcterms:modified>
  <cp:category/>
</cp:coreProperties>
</file>